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83" r:id="rId2"/>
    <p:sldId id="284" r:id="rId3"/>
    <p:sldId id="285" r:id="rId4"/>
    <p:sldId id="286" r:id="rId5"/>
    <p:sldId id="279" r:id="rId6"/>
    <p:sldId id="288" r:id="rId7"/>
    <p:sldId id="275" r:id="rId8"/>
    <p:sldId id="289" r:id="rId9"/>
    <p:sldId id="290" r:id="rId10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760"/>
    <a:srgbClr val="002846"/>
    <a:srgbClr val="3862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161" autoAdjust="0"/>
  </p:normalViewPr>
  <p:slideViewPr>
    <p:cSldViewPr>
      <p:cViewPr>
        <p:scale>
          <a:sx n="76" d="100"/>
          <a:sy n="76" d="100"/>
        </p:scale>
        <p:origin x="-1206" y="-5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11.11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Образ слайда 1"/>
          <p:cNvSpPr>
            <a:spLocks noGrp="1" noRot="1" noChangeAspect="1" noTextEdit="1"/>
          </p:cNvSpPr>
          <p:nvPr>
            <p:ph type="sldImg"/>
          </p:nvPr>
        </p:nvSpPr>
        <p:spPr/>
      </p:sp>
      <p:sp>
        <p:nvSpPr>
          <p:cNvPr id="11267" name="Заметки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ru-RU" smtClean="0">
              <a:latin typeface="Times New Roman" pitchFamily="18" charset="0"/>
            </a:endParaRPr>
          </a:p>
        </p:txBody>
      </p:sp>
      <p:sp>
        <p:nvSpPr>
          <p:cNvPr id="11268" name="Номер слайда 3"/>
          <p:cNvSpPr>
            <a:spLocks noGrp="1"/>
          </p:cNvSpPr>
          <p:nvPr>
            <p:ph type="sldNum" sz="quarter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pPr>
              <a:buFont typeface="Times New Roman" pitchFamily="18" charset="0"/>
              <a:buNone/>
            </a:pPr>
            <a:fld id="{1C042710-FB0E-43DD-BB7C-81552B984D16}" type="slidenum">
              <a:rPr lang="ru-RU" smtClean="0">
                <a:latin typeface="Times New Roman" pitchFamily="18" charset="0"/>
                <a:ea typeface="Microsoft YaHei" pitchFamily="34" charset="-122"/>
              </a:rPr>
              <a:pPr>
                <a:buFont typeface="Times New Roman" pitchFamily="18" charset="0"/>
                <a:buNone/>
              </a:pPr>
              <a:t>3</a:t>
            </a:fld>
            <a:endParaRPr lang="ru-RU" smtClean="0">
              <a:latin typeface="Times New Roman" pitchFamily="18" charset="0"/>
              <a:ea typeface="Microsoft YaHei" pitchFamily="34" charset="-122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11.11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0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214282" y="428604"/>
            <a:ext cx="8648700" cy="439738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sz="2400" b="1" dirty="0" smtClean="0"/>
              <a:t>Паспорт проекта «Оптимизация процесса «Сбор информации о посещаемости и заболеваемости обучающихся ДОО» </a:t>
            </a:r>
            <a:r>
              <a:rPr lang="ru-RU" sz="2400" b="1" cap="all" dirty="0" smtClean="0">
                <a:latin typeface="Franklin Gothic Medium" pitchFamily="34" charset="0"/>
              </a:rPr>
              <a:t/>
            </a:r>
            <a:br>
              <a:rPr lang="ru-RU" sz="2400" b="1" cap="all" dirty="0" smtClean="0">
                <a:latin typeface="Franklin Gothic Medium" pitchFamily="34" charset="0"/>
              </a:rPr>
            </a:br>
            <a:r>
              <a:rPr lang="ru-RU" sz="3600" dirty="0" smtClean="0"/>
              <a:t/>
            </a:r>
            <a:br>
              <a:rPr lang="ru-RU" sz="3600" dirty="0" smtClean="0"/>
            </a:br>
            <a:endParaRPr lang="ru-RU" sz="3600" dirty="0" smtClean="0"/>
          </a:p>
        </p:txBody>
      </p:sp>
      <p:sp>
        <p:nvSpPr>
          <p:cNvPr id="5" name="Прямоугольник 4">
            <a:extLst/>
          </p:cNvPr>
          <p:cNvSpPr/>
          <p:nvPr/>
        </p:nvSpPr>
        <p:spPr>
          <a:xfrm>
            <a:off x="233363" y="1281113"/>
            <a:ext cx="8636000" cy="157638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33363" y="2928935"/>
            <a:ext cx="8636000" cy="128588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TextBox 6">
            <a:extLst/>
          </p:cNvPr>
          <p:cNvSpPr txBox="1"/>
          <p:nvPr/>
        </p:nvSpPr>
        <p:spPr>
          <a:xfrm>
            <a:off x="260350" y="1309688"/>
            <a:ext cx="1941513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Общая информация </a:t>
            </a:r>
          </a:p>
        </p:txBody>
      </p:sp>
      <p:sp>
        <p:nvSpPr>
          <p:cNvPr id="8" name="Прямоугольник 7">
            <a:extLst/>
          </p:cNvPr>
          <p:cNvSpPr/>
          <p:nvPr/>
        </p:nvSpPr>
        <p:spPr>
          <a:xfrm>
            <a:off x="214282" y="4357694"/>
            <a:ext cx="8643998" cy="1130647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TextBox 8">
            <a:extLst/>
          </p:cNvPr>
          <p:cNvSpPr txBox="1"/>
          <p:nvPr/>
        </p:nvSpPr>
        <p:spPr>
          <a:xfrm>
            <a:off x="285720" y="2928934"/>
            <a:ext cx="258013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</a:rPr>
              <a:t>Обоснование выбора процесса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0" name="TextBox 9">
            <a:extLst/>
          </p:cNvPr>
          <p:cNvSpPr txBox="1"/>
          <p:nvPr/>
        </p:nvSpPr>
        <p:spPr>
          <a:xfrm>
            <a:off x="285720" y="4357694"/>
            <a:ext cx="1212640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Цель </a:t>
            </a:r>
            <a:r>
              <a:rPr lang="ru-RU" sz="1400" dirty="0">
                <a:solidFill>
                  <a:schemeClr val="accent2"/>
                </a:solidFill>
                <a:latin typeface="+mn-lt"/>
              </a:rPr>
              <a:t>проекта</a:t>
            </a: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441257" y="1309688"/>
            <a:ext cx="6201395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2060"/>
                </a:solidFill>
              </a:rPr>
              <a:t>Наименование учреждения</a:t>
            </a:r>
            <a:r>
              <a:rPr lang="ru-RU" sz="1200" dirty="0" smtClean="0">
                <a:solidFill>
                  <a:srgbClr val="002060"/>
                </a:solidFill>
              </a:rPr>
              <a:t>: Муниципальное бюджетное дошкольное образовательное учреждение «Детский сад «Звёздочка» п.Яковлево» </a:t>
            </a:r>
            <a:r>
              <a:rPr lang="ru-RU" sz="1200" dirty="0" err="1" smtClean="0">
                <a:solidFill>
                  <a:srgbClr val="002060"/>
                </a:solidFill>
              </a:rPr>
              <a:t>Яковлевского</a:t>
            </a:r>
            <a:r>
              <a:rPr lang="ru-RU" sz="1200" dirty="0" smtClean="0">
                <a:solidFill>
                  <a:srgbClr val="002060"/>
                </a:solidFill>
              </a:rPr>
              <a:t> городского округа»</a:t>
            </a:r>
          </a:p>
          <a:p>
            <a:r>
              <a:rPr lang="ru-RU" sz="1200" b="1" dirty="0" smtClean="0">
                <a:solidFill>
                  <a:srgbClr val="002060"/>
                </a:solidFill>
              </a:rPr>
              <a:t>Границы процесса</a:t>
            </a:r>
            <a:r>
              <a:rPr lang="ru-RU" sz="1200" dirty="0" smtClean="0">
                <a:solidFill>
                  <a:srgbClr val="002060"/>
                </a:solidFill>
              </a:rPr>
              <a:t>: о т получения запроса о предоставлении информации о посещаемости и заболеваемости обучающихся  до отправки информации в соответствии с запросом.</a:t>
            </a:r>
          </a:p>
          <a:p>
            <a:r>
              <a:rPr lang="ru-RU" sz="1200" b="1" dirty="0" smtClean="0">
                <a:solidFill>
                  <a:srgbClr val="002060"/>
                </a:solidFill>
              </a:rPr>
              <a:t>Дата начала  проекта</a:t>
            </a:r>
            <a:r>
              <a:rPr lang="ru-RU" sz="1200" smtClean="0">
                <a:solidFill>
                  <a:srgbClr val="002060"/>
                </a:solidFill>
              </a:rPr>
              <a:t>: </a:t>
            </a:r>
            <a:r>
              <a:rPr lang="ru-RU" sz="1200" smtClean="0">
                <a:solidFill>
                  <a:srgbClr val="002060"/>
                </a:solidFill>
              </a:rPr>
              <a:t>22.08.2019 </a:t>
            </a:r>
            <a:r>
              <a:rPr lang="ru-RU" sz="1200" dirty="0" smtClean="0">
                <a:solidFill>
                  <a:srgbClr val="002060"/>
                </a:solidFill>
              </a:rPr>
              <a:t>г.</a:t>
            </a:r>
          </a:p>
          <a:p>
            <a:r>
              <a:rPr lang="ru-RU" sz="1200" b="1" dirty="0" smtClean="0">
                <a:solidFill>
                  <a:srgbClr val="002060"/>
                </a:solidFill>
              </a:rPr>
              <a:t>Дата окончания проекта</a:t>
            </a:r>
            <a:r>
              <a:rPr lang="ru-RU" sz="1200" dirty="0" smtClean="0">
                <a:solidFill>
                  <a:srgbClr val="002060"/>
                </a:solidFill>
              </a:rPr>
              <a:t>: 28.10.2019г.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285720" y="3286124"/>
            <a:ext cx="8315325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002060"/>
                </a:solidFill>
              </a:rPr>
              <a:t>1. Длительный процесс  сбора информации. </a:t>
            </a:r>
            <a:br>
              <a:rPr lang="ru-RU" sz="1400" dirty="0" smtClean="0">
                <a:solidFill>
                  <a:srgbClr val="002060"/>
                </a:solidFill>
              </a:rPr>
            </a:br>
            <a:r>
              <a:rPr lang="ru-RU" sz="1400" dirty="0" smtClean="0">
                <a:solidFill>
                  <a:srgbClr val="002060"/>
                </a:solidFill>
              </a:rPr>
              <a:t>2.  Несогласованность в работе участников процесса.</a:t>
            </a:r>
          </a:p>
          <a:p>
            <a:r>
              <a:rPr lang="ru-RU" sz="1400" dirty="0" smtClean="0">
                <a:solidFill>
                  <a:srgbClr val="002060"/>
                </a:solidFill>
              </a:rPr>
              <a:t>3. Регулярно повторяющийся процесс.</a:t>
            </a:r>
            <a:endParaRPr lang="ru-RU" sz="1400" dirty="0">
              <a:solidFill>
                <a:srgbClr val="002060"/>
              </a:solidFill>
            </a:endParaRPr>
          </a:p>
          <a:p>
            <a:pPr marL="349250" indent="-349250">
              <a:buFont typeface="Arial" charset="0"/>
              <a:buAutoNum type="arabicPeriod"/>
            </a:pPr>
            <a:endParaRPr lang="ru-RU" sz="1400" dirty="0" smtClean="0">
              <a:solidFill>
                <a:srgbClr val="00206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85720" y="4500570"/>
            <a:ext cx="8323263" cy="7694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2060"/>
                </a:solidFill>
                <a:latin typeface="+mn-lt"/>
              </a:rPr>
              <a:t>                         </a:t>
            </a:r>
            <a:endParaRPr lang="ru-RU" sz="1600" dirty="0" smtClean="0">
              <a:solidFill>
                <a:srgbClr val="002060"/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rgbClr val="002060"/>
                </a:solidFill>
              </a:rPr>
              <a:t>Сокращение времени протекания процесса сбора информации о посещаемости и заболеваемости обучающихся.</a:t>
            </a:r>
          </a:p>
        </p:txBody>
      </p:sp>
      <p:sp>
        <p:nvSpPr>
          <p:cNvPr id="16" name="Прямоугольник 15">
            <a:extLst/>
          </p:cNvPr>
          <p:cNvSpPr/>
          <p:nvPr/>
        </p:nvSpPr>
        <p:spPr>
          <a:xfrm>
            <a:off x="214282" y="5572140"/>
            <a:ext cx="8621713" cy="1143008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/>
          </p:cNvPr>
          <p:cNvSpPr txBox="1"/>
          <p:nvPr/>
        </p:nvSpPr>
        <p:spPr>
          <a:xfrm>
            <a:off x="285720" y="5572140"/>
            <a:ext cx="1519968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Эффекты </a:t>
            </a:r>
            <a:r>
              <a:rPr lang="ru-RU" sz="1400" dirty="0">
                <a:solidFill>
                  <a:schemeClr val="accent2"/>
                </a:solidFill>
                <a:latin typeface="+mn-lt"/>
              </a:rPr>
              <a:t>проек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85720" y="5643578"/>
            <a:ext cx="8323263" cy="98488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 smtClean="0">
                <a:solidFill>
                  <a:srgbClr val="002060"/>
                </a:solidFill>
                <a:latin typeface="+mn-lt"/>
              </a:rPr>
              <a:t>                       </a:t>
            </a:r>
          </a:p>
          <a:p>
            <a:r>
              <a:rPr lang="ru-RU" sz="1400" dirty="0" smtClean="0">
                <a:solidFill>
                  <a:srgbClr val="002060"/>
                </a:solidFill>
              </a:rPr>
              <a:t>1.Создание алгоритма работы  по сбору информации о  посещаемости и заболеваемости обучающихся ДОО. </a:t>
            </a:r>
          </a:p>
          <a:p>
            <a:r>
              <a:rPr lang="ru-RU" sz="1400" dirty="0" smtClean="0">
                <a:solidFill>
                  <a:srgbClr val="002060"/>
                </a:solidFill>
              </a:rPr>
              <a:t>2.Повышение эффективности взаимодействия между всеми участниками процесса.</a:t>
            </a:r>
            <a:endParaRPr lang="ru-RU" sz="1400" dirty="0">
              <a:solidFill>
                <a:srgbClr val="002060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448251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1</a:t>
            </a:fld>
            <a:endParaRPr lang="ru-RU" sz="1400" dirty="0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106" y="1598058"/>
            <a:ext cx="1782000" cy="118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18428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/>
          </p:cNvPr>
          <p:cNvSpPr/>
          <p:nvPr/>
        </p:nvSpPr>
        <p:spPr>
          <a:xfrm>
            <a:off x="233363" y="3600450"/>
            <a:ext cx="8621712" cy="246380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/>
          </p:cNvPr>
          <p:cNvSpPr/>
          <p:nvPr/>
        </p:nvSpPr>
        <p:spPr>
          <a:xfrm>
            <a:off x="214282" y="928670"/>
            <a:ext cx="8637588" cy="249396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/>
          </p:cNvPr>
          <p:cNvSpPr txBox="1"/>
          <p:nvPr/>
        </p:nvSpPr>
        <p:spPr>
          <a:xfrm>
            <a:off x="285720" y="1000108"/>
            <a:ext cx="1644650" cy="5222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уководство проектом</a:t>
            </a:r>
          </a:p>
        </p:txBody>
      </p:sp>
      <p:sp>
        <p:nvSpPr>
          <p:cNvPr id="39" name="TextBox 38">
            <a:extLst/>
          </p:cNvPr>
          <p:cNvSpPr txBox="1"/>
          <p:nvPr/>
        </p:nvSpPr>
        <p:spPr>
          <a:xfrm>
            <a:off x="315913" y="3630613"/>
            <a:ext cx="2189162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2723344" y="3056619"/>
            <a:ext cx="1500198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err="1" smtClean="0">
                <a:solidFill>
                  <a:srgbClr val="00295C"/>
                </a:solidFill>
              </a:rPr>
              <a:t>Кулабухова</a:t>
            </a:r>
            <a:r>
              <a:rPr lang="ru-RU" altLang="ru-RU" sz="1000" b="1" kern="0" dirty="0" smtClean="0">
                <a:solidFill>
                  <a:srgbClr val="00295C"/>
                </a:solidFill>
              </a:rPr>
              <a:t> Е.А.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 заведующий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2795474" y="1069045"/>
            <a:ext cx="1538288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Заказчик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5715008" y="3000372"/>
            <a:ext cx="1785938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Чеканова М.С.,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старший воспитатель</a:t>
            </a: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5235585" y="1069045"/>
            <a:ext cx="2155825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Руководитель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36" name="Rectangle 53"/>
          <p:cNvSpPr txBox="1">
            <a:spLocks noChangeArrowheads="1"/>
          </p:cNvSpPr>
          <p:nvPr/>
        </p:nvSpPr>
        <p:spPr bwMode="auto">
          <a:xfrm>
            <a:off x="2936499" y="5643577"/>
            <a:ext cx="1462088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Дьякова О.В.,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педагог-психолог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38" name="Rectangle 53"/>
          <p:cNvSpPr txBox="1">
            <a:spLocks noChangeArrowheads="1"/>
          </p:cNvSpPr>
          <p:nvPr/>
        </p:nvSpPr>
        <p:spPr bwMode="auto">
          <a:xfrm>
            <a:off x="5929322" y="5643578"/>
            <a:ext cx="1462088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Черкасова А.А.,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>
                <a:solidFill>
                  <a:srgbClr val="00295C"/>
                </a:solidFill>
              </a:rPr>
              <a:t>м</a:t>
            </a:r>
            <a:r>
              <a:rPr lang="ru-RU" altLang="ru-RU" sz="1000" b="1" kern="0" dirty="0" smtClean="0">
                <a:solidFill>
                  <a:srgbClr val="00295C"/>
                </a:solidFill>
              </a:rPr>
              <a:t>едицинская сестра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48264" y="6376243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2</a:t>
            </a:fld>
            <a:endParaRPr lang="ru-RU" sz="1400" dirty="0"/>
          </a:p>
        </p:txBody>
      </p:sp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571472" y="1928802"/>
            <a:ext cx="1071570" cy="13287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457" name="Picture 1" descr="C:\Users\Детсад\Desktop\Елена Анатольевна\фото\DSC09888 — копия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723163" y="1223032"/>
            <a:ext cx="1610599" cy="1643259"/>
          </a:xfrm>
          <a:prstGeom prst="rect">
            <a:avLst/>
          </a:prstGeom>
          <a:noFill/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69079" y="1246860"/>
            <a:ext cx="1327696" cy="1619432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2104" y="3796060"/>
            <a:ext cx="1330878" cy="1734623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08" r="1693"/>
          <a:stretch/>
        </p:blipFill>
        <p:spPr>
          <a:xfrm>
            <a:off x="5904490" y="3796060"/>
            <a:ext cx="1350382" cy="1659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43696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Прямоугольник 45"/>
          <p:cNvSpPr/>
          <p:nvPr/>
        </p:nvSpPr>
        <p:spPr>
          <a:xfrm>
            <a:off x="5431449" y="1745456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285750" y="35004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2428875" y="3500438"/>
            <a:ext cx="571500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5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2784475" y="1775185"/>
            <a:ext cx="503238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714375" y="17859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4103" name="Заголовок 1"/>
          <p:cNvSpPr>
            <a:spLocks noGrp="1"/>
          </p:cNvSpPr>
          <p:nvPr>
            <p:ph type="title"/>
          </p:nvPr>
        </p:nvSpPr>
        <p:spPr>
          <a:xfrm>
            <a:off x="0" y="285728"/>
            <a:ext cx="9144000" cy="1071570"/>
          </a:xfrm>
        </p:spPr>
        <p:txBody>
          <a:bodyPr>
            <a:normAutofit/>
          </a:bodyPr>
          <a:lstStyle/>
          <a:p>
            <a:pPr eaLnBrk="1" hangingPunct="1">
              <a:tabLst>
                <a:tab pos="630238" algn="l"/>
              </a:tabLst>
            </a:pPr>
            <a:r>
              <a:rPr lang="ru-RU" sz="1800" b="1" dirty="0" smtClean="0">
                <a:solidFill>
                  <a:schemeClr val="accent1"/>
                </a:solidFill>
                <a:latin typeface="Franklin Gothic Medium" pitchFamily="34" charset="0"/>
              </a:rPr>
              <a:t>Карта текущего состояния процесса</a:t>
            </a:r>
            <a:br>
              <a:rPr lang="ru-RU" sz="1800" b="1" dirty="0" smtClean="0">
                <a:solidFill>
                  <a:schemeClr val="accent1"/>
                </a:solidFill>
                <a:latin typeface="Franklin Gothic Medium" pitchFamily="34" charset="0"/>
              </a:rPr>
            </a:br>
            <a:r>
              <a:rPr lang="ru-RU" altLang="ru-RU" sz="1800" b="1" dirty="0" smtClean="0">
                <a:solidFill>
                  <a:srgbClr val="0070C0"/>
                </a:solidFill>
                <a:latin typeface="Franklin Gothic Medium" pitchFamily="34" charset="0"/>
              </a:rPr>
              <a:t>«</a:t>
            </a:r>
            <a:r>
              <a:rPr lang="ru-RU" sz="1800" b="1" dirty="0" smtClean="0">
                <a:solidFill>
                  <a:srgbClr val="0070C0"/>
                </a:solidFill>
              </a:rPr>
              <a:t>Оптимизация процесса «Сбор информации о посещаемости и заболеваемости обучающихся ДОО»</a:t>
            </a:r>
            <a:endParaRPr lang="ru-RU" sz="1800" b="1" dirty="0" smtClean="0">
              <a:solidFill>
                <a:srgbClr val="0070C0"/>
              </a:solidFill>
              <a:latin typeface="Franklin Gothic Medium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714375" y="2071688"/>
            <a:ext cx="1511300" cy="121443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>
                <a:solidFill>
                  <a:schemeClr val="tx1"/>
                </a:solidFill>
                <a:latin typeface="+mj-lt"/>
              </a:rPr>
              <a:t>Ст. воспитатель</a:t>
            </a:r>
          </a:p>
          <a:p>
            <a:pPr algn="ctr">
              <a:defRPr/>
            </a:pPr>
            <a:r>
              <a:rPr lang="ru-RU" sz="1000" dirty="0"/>
              <a:t>Поручение о предоставлении  информации о посещаемости и заболеваемости в  </a:t>
            </a:r>
            <a:r>
              <a:rPr lang="ru-RU" sz="1000" dirty="0" smtClean="0"/>
              <a:t>ДОО</a:t>
            </a:r>
            <a:endParaRPr lang="ru-RU" sz="900" dirty="0">
              <a:solidFill>
                <a:schemeClr val="tx1"/>
              </a:solidFill>
              <a:latin typeface="+mj-lt"/>
            </a:endParaRPr>
          </a:p>
          <a:p>
            <a:pPr algn="ctr">
              <a:defRPr/>
            </a:pPr>
            <a:endParaRPr lang="ru-RU" sz="600" dirty="0" smtClean="0">
              <a:solidFill>
                <a:schemeClr val="tx1"/>
              </a:solidFill>
              <a:latin typeface="+mj-lt"/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  <a:latin typeface="+mj-lt"/>
              </a:rPr>
              <a:t>(</a:t>
            </a:r>
            <a:r>
              <a:rPr lang="ru-RU" sz="900" dirty="0">
                <a:solidFill>
                  <a:schemeClr val="tx1"/>
                </a:solidFill>
                <a:latin typeface="+mj-lt"/>
              </a:rPr>
              <a:t>3-5 мин.) </a:t>
            </a:r>
          </a:p>
        </p:txBody>
      </p:sp>
      <p:sp>
        <p:nvSpPr>
          <p:cNvPr id="23" name="Стрелка вправо 22"/>
          <p:cNvSpPr/>
          <p:nvPr/>
        </p:nvSpPr>
        <p:spPr>
          <a:xfrm>
            <a:off x="2500313" y="2571750"/>
            <a:ext cx="287337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24" name="Прямая соединительная линия 23"/>
          <p:cNvCxnSpPr/>
          <p:nvPr/>
        </p:nvCxnSpPr>
        <p:spPr>
          <a:xfrm>
            <a:off x="714375" y="3071813"/>
            <a:ext cx="1500188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3000375" y="2071688"/>
            <a:ext cx="1441450" cy="121443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>
                <a:solidFill>
                  <a:schemeClr val="tx1"/>
                </a:solidFill>
              </a:rPr>
              <a:t>Мед. сестра</a:t>
            </a:r>
          </a:p>
          <a:p>
            <a:pPr algn="ctr">
              <a:defRPr/>
            </a:pPr>
            <a:endParaRPr lang="ru-RU" sz="8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000" dirty="0">
                <a:cs typeface="Times New Roman" panose="02020603050405020304" pitchFamily="18" charset="0"/>
              </a:rPr>
              <a:t>Уточнение информации  у воспитателей </a:t>
            </a:r>
            <a:r>
              <a:rPr lang="ru-RU" sz="1000" dirty="0" smtClean="0">
                <a:cs typeface="Times New Roman" panose="02020603050405020304" pitchFamily="18" charset="0"/>
              </a:rPr>
              <a:t>групп</a:t>
            </a:r>
            <a:endParaRPr lang="ru-RU" sz="1000" dirty="0">
              <a:cs typeface="Times New Roman" panose="02020603050405020304" pitchFamily="18" charset="0"/>
            </a:endParaRPr>
          </a:p>
          <a:p>
            <a:pPr algn="ctr"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600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</a:t>
            </a:r>
            <a:r>
              <a:rPr lang="ru-RU" sz="900" dirty="0">
                <a:solidFill>
                  <a:schemeClr val="tx1"/>
                </a:solidFill>
              </a:rPr>
              <a:t>30-35 мин.) </a:t>
            </a:r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3000375" y="3071813"/>
            <a:ext cx="1428750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Стрелка вправо 28"/>
          <p:cNvSpPr/>
          <p:nvPr/>
        </p:nvSpPr>
        <p:spPr>
          <a:xfrm>
            <a:off x="4929188" y="2571750"/>
            <a:ext cx="357187" cy="21431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31" name="Прямоугольник 30"/>
          <p:cNvSpPr/>
          <p:nvPr/>
        </p:nvSpPr>
        <p:spPr>
          <a:xfrm>
            <a:off x="571500" y="3786188"/>
            <a:ext cx="1571625" cy="121443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>
                <a:solidFill>
                  <a:schemeClr val="tx1"/>
                </a:solidFill>
              </a:rPr>
              <a:t>Мед. сестра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/>
              <a:t>Передача информации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/>
              <a:t>ст. воспитателю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6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(</a:t>
            </a:r>
            <a:r>
              <a:rPr lang="ru-RU" sz="900" dirty="0">
                <a:solidFill>
                  <a:schemeClr val="tx1"/>
                </a:solidFill>
              </a:rPr>
              <a:t>5-10 мин.) 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2357438" y="4214813"/>
            <a:ext cx="357187" cy="21431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571500" y="4786313"/>
            <a:ext cx="1571625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Прямоугольник 37"/>
          <p:cNvSpPr/>
          <p:nvPr/>
        </p:nvSpPr>
        <p:spPr>
          <a:xfrm>
            <a:off x="2857500" y="3714750"/>
            <a:ext cx="1857375" cy="128587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/>
              <a:t>Ст. воспитатель</a:t>
            </a:r>
            <a:endParaRPr lang="ru-RU" sz="1100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8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100" dirty="0"/>
              <a:t>Заполнение бланка и отправка информации в соответствии с запросом</a:t>
            </a:r>
            <a:endParaRPr lang="ru-RU" sz="5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>
                <a:solidFill>
                  <a:schemeClr val="tx1"/>
                </a:solidFill>
              </a:rPr>
              <a:t> (5-10 мин.) </a:t>
            </a:r>
          </a:p>
        </p:txBody>
      </p:sp>
      <p:sp>
        <p:nvSpPr>
          <p:cNvPr id="40" name="Стрелка вправо 39"/>
          <p:cNvSpPr/>
          <p:nvPr/>
        </p:nvSpPr>
        <p:spPr>
          <a:xfrm>
            <a:off x="7858125" y="2500313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2857500" y="4714875"/>
            <a:ext cx="200025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357158" y="5715016"/>
            <a:ext cx="4500563" cy="30777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ВПП </a:t>
            </a:r>
            <a:r>
              <a:rPr lang="ru-RU" sz="1400" b="1" dirty="0" smtClean="0">
                <a:solidFill>
                  <a:srgbClr val="C00000"/>
                </a:solidFill>
                <a:cs typeface="Arial" charset="0"/>
              </a:rPr>
              <a:t> = </a:t>
            </a:r>
            <a:r>
              <a:rPr lang="ru-RU" sz="1400" b="1" dirty="0" smtClean="0">
                <a:solidFill>
                  <a:srgbClr val="C00000"/>
                </a:solidFill>
                <a:latin typeface="+mn-lt"/>
                <a:cs typeface="Arial" charset="0"/>
              </a:rPr>
              <a:t>75 мин.</a:t>
            </a:r>
            <a:endParaRPr lang="ru-RU" sz="1400" b="1" dirty="0">
              <a:solidFill>
                <a:srgbClr val="C00000"/>
              </a:solidFill>
              <a:latin typeface="+mn-lt"/>
              <a:cs typeface="Arial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5715000" y="2071688"/>
            <a:ext cx="1785938" cy="121443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/>
              <a:t>Мед. сестра</a:t>
            </a:r>
            <a:endParaRPr lang="ru-RU" sz="700" b="1" dirty="0"/>
          </a:p>
          <a:p>
            <a:pPr algn="ctr">
              <a:defRPr/>
            </a:pPr>
            <a:endParaRPr lang="ru-RU" sz="800" b="1" dirty="0"/>
          </a:p>
          <a:p>
            <a:pPr algn="ctr">
              <a:defRPr/>
            </a:pPr>
            <a:r>
              <a:rPr lang="ru-RU" sz="900" dirty="0">
                <a:cs typeface="Times New Roman" panose="02020603050405020304" pitchFamily="18" charset="0"/>
              </a:rPr>
              <a:t>Анализ полученной информации</a:t>
            </a: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6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 smtClean="0">
                <a:solidFill>
                  <a:schemeClr val="tx1"/>
                </a:solidFill>
              </a:rPr>
              <a:t> </a:t>
            </a:r>
            <a:r>
              <a:rPr lang="ru-RU" sz="900" dirty="0">
                <a:solidFill>
                  <a:schemeClr val="tx1"/>
                </a:solidFill>
              </a:rPr>
              <a:t>(10-15 мин.)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5715000" y="2286000"/>
            <a:ext cx="1785938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715125"/>
            <a:ext cx="347662" cy="285750"/>
          </a:xfrm>
        </p:spPr>
        <p:txBody>
          <a:bodyPr/>
          <a:lstStyle/>
          <a:p>
            <a:pPr algn="ctr">
              <a:defRPr/>
            </a:pPr>
            <a:fld id="{AECEEE95-06A7-429C-9772-190F3F752AFD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3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sp>
        <p:nvSpPr>
          <p:cNvPr id="4121" name="TextBox 66"/>
          <p:cNvSpPr txBox="1">
            <a:spLocks noChangeArrowheads="1"/>
          </p:cNvSpPr>
          <p:nvPr/>
        </p:nvSpPr>
        <p:spPr bwMode="auto">
          <a:xfrm>
            <a:off x="5572125" y="5072074"/>
            <a:ext cx="3571875" cy="16158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342900" indent="-342900">
              <a:lnSpc>
                <a:spcPct val="150000"/>
              </a:lnSpc>
            </a:pPr>
            <a:r>
              <a:rPr lang="ru-RU" sz="1100" dirty="0">
                <a:solidFill>
                  <a:srgbClr val="000000"/>
                </a:solidFill>
              </a:rPr>
              <a:t>Длительный период ожидания  данных в </a:t>
            </a:r>
            <a:r>
              <a:rPr lang="ru-RU" sz="1100" dirty="0" smtClean="0">
                <a:solidFill>
                  <a:srgbClr val="000000"/>
                </a:solidFill>
              </a:rPr>
              <a:t>группах</a:t>
            </a:r>
            <a:endParaRPr lang="ru-RU" sz="1100" dirty="0">
              <a:solidFill>
                <a:srgbClr val="000000"/>
              </a:solidFill>
            </a:endParaRPr>
          </a:p>
          <a:p>
            <a:pPr marL="342900" indent="-342900">
              <a:lnSpc>
                <a:spcPct val="150000"/>
              </a:lnSpc>
            </a:pPr>
            <a:r>
              <a:rPr lang="ru-RU" sz="1100" dirty="0">
                <a:solidFill>
                  <a:srgbClr val="000000"/>
                </a:solidFill>
              </a:rPr>
              <a:t>Длительность процесса уточнения данных за счет непунктуальности родителей</a:t>
            </a:r>
          </a:p>
          <a:p>
            <a:pPr marL="342900" indent="-342900">
              <a:lnSpc>
                <a:spcPct val="150000"/>
              </a:lnSpc>
            </a:pPr>
            <a:r>
              <a:rPr lang="ru-RU" sz="1100" dirty="0"/>
              <a:t>Ручной подсчет данных</a:t>
            </a:r>
          </a:p>
          <a:p>
            <a:pPr marL="342900" indent="-342900">
              <a:lnSpc>
                <a:spcPct val="150000"/>
              </a:lnSpc>
            </a:pPr>
            <a:r>
              <a:rPr lang="ru-RU" sz="1100" dirty="0">
                <a:solidFill>
                  <a:srgbClr val="000000"/>
                </a:solidFill>
              </a:rPr>
              <a:t>Отсутствие на рабочем месте</a:t>
            </a:r>
            <a:endParaRPr lang="ru-RU" sz="1100" dirty="0"/>
          </a:p>
          <a:p>
            <a:pPr marL="342900" indent="-342900">
              <a:lnSpc>
                <a:spcPct val="150000"/>
              </a:lnSpc>
            </a:pPr>
            <a:endParaRPr lang="ru-RU" sz="1100" dirty="0"/>
          </a:p>
        </p:txBody>
      </p:sp>
      <p:cxnSp>
        <p:nvCxnSpPr>
          <p:cNvPr id="115" name="Прямая соединительная линия 114"/>
          <p:cNvCxnSpPr/>
          <p:nvPr/>
        </p:nvCxnSpPr>
        <p:spPr>
          <a:xfrm>
            <a:off x="571500" y="4000500"/>
            <a:ext cx="1571625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Прямая соединительная линия 115"/>
          <p:cNvCxnSpPr/>
          <p:nvPr/>
        </p:nvCxnSpPr>
        <p:spPr>
          <a:xfrm>
            <a:off x="714375" y="2286000"/>
            <a:ext cx="151130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>
            <a:off x="3000375" y="2286000"/>
            <a:ext cx="1441450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единительная линия 121"/>
          <p:cNvCxnSpPr/>
          <p:nvPr/>
        </p:nvCxnSpPr>
        <p:spPr>
          <a:xfrm>
            <a:off x="5715000" y="3000375"/>
            <a:ext cx="1785938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единительная линия 127"/>
          <p:cNvCxnSpPr/>
          <p:nvPr/>
        </p:nvCxnSpPr>
        <p:spPr>
          <a:xfrm>
            <a:off x="2857500" y="4000500"/>
            <a:ext cx="1928813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Пятно 1 49"/>
          <p:cNvSpPr/>
          <p:nvPr/>
        </p:nvSpPr>
        <p:spPr>
          <a:xfrm>
            <a:off x="4143375" y="3357563"/>
            <a:ext cx="642938" cy="500062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500034" y="2071678"/>
            <a:ext cx="214282" cy="12241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55" name="Пятно 1 54"/>
          <p:cNvSpPr/>
          <p:nvPr/>
        </p:nvSpPr>
        <p:spPr>
          <a:xfrm>
            <a:off x="4214813" y="1857375"/>
            <a:ext cx="571500" cy="428625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6" name="Пятно 1 55"/>
          <p:cNvSpPr/>
          <p:nvPr/>
        </p:nvSpPr>
        <p:spPr>
          <a:xfrm>
            <a:off x="6357938" y="1714500"/>
            <a:ext cx="428625" cy="500063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51" name="Пятно 1 50"/>
          <p:cNvSpPr/>
          <p:nvPr/>
        </p:nvSpPr>
        <p:spPr>
          <a:xfrm>
            <a:off x="3643313" y="1571625"/>
            <a:ext cx="500062" cy="506413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1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4714876" y="3714752"/>
            <a:ext cx="357190" cy="1357322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  <p:sp>
        <p:nvSpPr>
          <p:cNvPr id="114" name="Пятно 1 113"/>
          <p:cNvSpPr/>
          <p:nvPr/>
        </p:nvSpPr>
        <p:spPr>
          <a:xfrm>
            <a:off x="5000628" y="5143512"/>
            <a:ext cx="428625" cy="285750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9" name="Пятно 1 118"/>
          <p:cNvSpPr/>
          <p:nvPr/>
        </p:nvSpPr>
        <p:spPr>
          <a:xfrm>
            <a:off x="5000628" y="5429264"/>
            <a:ext cx="428625" cy="357187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20" name="Пятно 1 119"/>
          <p:cNvSpPr/>
          <p:nvPr/>
        </p:nvSpPr>
        <p:spPr>
          <a:xfrm>
            <a:off x="5000628" y="5857892"/>
            <a:ext cx="428625" cy="285750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</a:rPr>
              <a:t>3</a:t>
            </a:r>
          </a:p>
          <a:p>
            <a:pPr algn="ctr">
              <a:defRPr/>
            </a:pPr>
            <a:endParaRPr lang="ru-RU" sz="800" b="1" dirty="0">
              <a:solidFill>
                <a:schemeClr val="bg1"/>
              </a:solidFill>
            </a:endParaRPr>
          </a:p>
        </p:txBody>
      </p:sp>
      <p:sp>
        <p:nvSpPr>
          <p:cNvPr id="54" name="Пятно 1 53"/>
          <p:cNvSpPr/>
          <p:nvPr/>
        </p:nvSpPr>
        <p:spPr>
          <a:xfrm>
            <a:off x="1643063" y="3429000"/>
            <a:ext cx="500062" cy="506413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>
                <a:solidFill>
                  <a:schemeClr val="bg1"/>
                </a:solidFill>
              </a:rPr>
              <a:t>4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66" name="Стрелка вправо 65"/>
          <p:cNvSpPr/>
          <p:nvPr/>
        </p:nvSpPr>
        <p:spPr>
          <a:xfrm>
            <a:off x="142875" y="4286250"/>
            <a:ext cx="357188" cy="21431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7" name="Пятно 1 66"/>
          <p:cNvSpPr/>
          <p:nvPr/>
        </p:nvSpPr>
        <p:spPr>
          <a:xfrm>
            <a:off x="5000628" y="6143644"/>
            <a:ext cx="428625" cy="285750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800" b="1" dirty="0">
                <a:solidFill>
                  <a:schemeClr val="bg1"/>
                </a:solidFill>
              </a:rPr>
              <a:t>4</a:t>
            </a:r>
          </a:p>
          <a:p>
            <a:pPr algn="ctr">
              <a:defRPr/>
            </a:pPr>
            <a:endParaRPr lang="ru-RU" sz="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Равнобедренный треугольник 6"/>
          <p:cNvSpPr/>
          <p:nvPr/>
        </p:nvSpPr>
        <p:spPr>
          <a:xfrm>
            <a:off x="214313" y="1785938"/>
            <a:ext cx="6357937" cy="4429125"/>
          </a:xfrm>
          <a:prstGeom prst="triangle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buFont typeface="Times New Roman" pitchFamily="16" charset="0"/>
              <a:buNone/>
              <a:defRPr/>
            </a:pP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357438" y="3286125"/>
            <a:ext cx="2071687" cy="1588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 flipV="1">
            <a:off x="1285852" y="4714876"/>
            <a:ext cx="4214836" cy="7144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26" name="TextBox 13"/>
          <p:cNvSpPr txBox="1">
            <a:spLocks noChangeArrowheads="1"/>
          </p:cNvSpPr>
          <p:nvPr/>
        </p:nvSpPr>
        <p:spPr bwMode="auto">
          <a:xfrm>
            <a:off x="4000500" y="2928938"/>
            <a:ext cx="1285875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ru-RU"/>
          </a:p>
        </p:txBody>
      </p:sp>
      <p:sp>
        <p:nvSpPr>
          <p:cNvPr id="5127" name="TextBox 14"/>
          <p:cNvSpPr txBox="1">
            <a:spLocks noChangeArrowheads="1"/>
          </p:cNvSpPr>
          <p:nvPr/>
        </p:nvSpPr>
        <p:spPr bwMode="auto">
          <a:xfrm>
            <a:off x="2428875" y="3000375"/>
            <a:ext cx="1714500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/>
              <a:t>Федеральный</a:t>
            </a:r>
          </a:p>
        </p:txBody>
      </p:sp>
      <p:sp>
        <p:nvSpPr>
          <p:cNvPr id="5128" name="TextBox 15"/>
          <p:cNvSpPr txBox="1">
            <a:spLocks noChangeArrowheads="1"/>
          </p:cNvSpPr>
          <p:nvPr/>
        </p:nvSpPr>
        <p:spPr bwMode="auto">
          <a:xfrm>
            <a:off x="2071688" y="4357688"/>
            <a:ext cx="2786062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/>
              <a:t>Региональный</a:t>
            </a:r>
          </a:p>
        </p:txBody>
      </p:sp>
      <p:sp>
        <p:nvSpPr>
          <p:cNvPr id="5129" name="TextBox 16"/>
          <p:cNvSpPr txBox="1">
            <a:spLocks noChangeArrowheads="1"/>
          </p:cNvSpPr>
          <p:nvPr/>
        </p:nvSpPr>
        <p:spPr bwMode="auto">
          <a:xfrm>
            <a:off x="2071688" y="5715000"/>
            <a:ext cx="2571750" cy="349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/>
              <a:t>Уровень ОО</a:t>
            </a:r>
          </a:p>
        </p:txBody>
      </p:sp>
      <p:sp>
        <p:nvSpPr>
          <p:cNvPr id="18" name="Содержимое 4"/>
          <p:cNvSpPr txBox="1">
            <a:spLocks/>
          </p:cNvSpPr>
          <p:nvPr/>
        </p:nvSpPr>
        <p:spPr bwMode="auto">
          <a:xfrm>
            <a:off x="1214438" y="5357813"/>
            <a:ext cx="571500" cy="500062"/>
          </a:xfrm>
          <a:prstGeom prst="irregularSeal1">
            <a:avLst/>
          </a:prstGeom>
          <a:solidFill>
            <a:srgbClr val="FF0000"/>
          </a:solidFill>
          <a:ln w="25400" cap="flat" cmpd="sng" algn="ctr">
            <a:solidFill>
              <a:schemeClr val="accent1">
                <a:shade val="50000"/>
              </a:schemeClr>
            </a:solidFill>
            <a:prstDash val="solid"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73050" indent="-273050" algn="ctr" defTabSz="914400" eaLnBrk="0">
              <a:lnSpc>
                <a:spcPct val="100000"/>
              </a:lnSpc>
              <a:spcBef>
                <a:spcPct val="20000"/>
              </a:spcBef>
              <a:buClr>
                <a:srgbClr val="0BD0D9"/>
              </a:buClr>
              <a:buSzPct val="95000"/>
              <a:buFont typeface="Wingdings 2" pitchFamily="18" charset="2"/>
              <a:buNone/>
              <a:defRPr/>
            </a:pPr>
            <a:r>
              <a:rPr lang="ru-RU" sz="2600" dirty="0"/>
              <a:t>1</a:t>
            </a:r>
          </a:p>
        </p:txBody>
      </p:sp>
      <p:sp>
        <p:nvSpPr>
          <p:cNvPr id="19" name="Содержимое 4"/>
          <p:cNvSpPr txBox="1">
            <a:spLocks/>
          </p:cNvSpPr>
          <p:nvPr/>
        </p:nvSpPr>
        <p:spPr bwMode="auto">
          <a:xfrm>
            <a:off x="2500313" y="4929188"/>
            <a:ext cx="571500" cy="500062"/>
          </a:xfrm>
          <a:prstGeom prst="irregularSeal1">
            <a:avLst/>
          </a:prstGeom>
          <a:solidFill>
            <a:srgbClr val="FF0000"/>
          </a:solidFill>
          <a:ln w="25400" cap="flat" cmpd="sng" algn="ctr">
            <a:solidFill>
              <a:schemeClr val="accent1">
                <a:shade val="50000"/>
              </a:schemeClr>
            </a:solidFill>
            <a:prstDash val="solid"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73050" indent="-273050" algn="ctr" defTabSz="914400" eaLnBrk="0">
              <a:lnSpc>
                <a:spcPct val="100000"/>
              </a:lnSpc>
              <a:spcBef>
                <a:spcPct val="20000"/>
              </a:spcBef>
              <a:buClr>
                <a:srgbClr val="0BD0D9"/>
              </a:buClr>
              <a:buSzPct val="95000"/>
              <a:buFont typeface="Wingdings 2" pitchFamily="18" charset="2"/>
              <a:buNone/>
              <a:defRPr/>
            </a:pPr>
            <a:r>
              <a:rPr lang="ru-RU" sz="2600" dirty="0"/>
              <a:t>2</a:t>
            </a:r>
          </a:p>
        </p:txBody>
      </p:sp>
      <p:sp>
        <p:nvSpPr>
          <p:cNvPr id="20" name="Содержимое 4"/>
          <p:cNvSpPr txBox="1">
            <a:spLocks/>
          </p:cNvSpPr>
          <p:nvPr/>
        </p:nvSpPr>
        <p:spPr bwMode="auto">
          <a:xfrm>
            <a:off x="4929188" y="5357813"/>
            <a:ext cx="571500" cy="500062"/>
          </a:xfrm>
          <a:prstGeom prst="irregularSeal1">
            <a:avLst/>
          </a:prstGeom>
          <a:solidFill>
            <a:srgbClr val="FF0000"/>
          </a:solidFill>
          <a:ln w="25400" cap="flat" cmpd="sng" algn="ctr">
            <a:solidFill>
              <a:schemeClr val="accent1">
                <a:shade val="50000"/>
              </a:schemeClr>
            </a:solidFill>
            <a:prstDash val="solid"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73050" indent="-273050" algn="ctr" defTabSz="914400" eaLnBrk="0">
              <a:lnSpc>
                <a:spcPct val="100000"/>
              </a:lnSpc>
              <a:spcBef>
                <a:spcPct val="20000"/>
              </a:spcBef>
              <a:buClr>
                <a:srgbClr val="0BD0D9"/>
              </a:buClr>
              <a:buSzPct val="95000"/>
              <a:buFont typeface="Wingdings 2" pitchFamily="18" charset="2"/>
              <a:buNone/>
              <a:defRPr/>
            </a:pPr>
            <a:r>
              <a:rPr lang="ru-RU" sz="2600" dirty="0"/>
              <a:t>4</a:t>
            </a:r>
          </a:p>
        </p:txBody>
      </p:sp>
      <p:sp>
        <p:nvSpPr>
          <p:cNvPr id="25" name="Содержимое 4"/>
          <p:cNvSpPr txBox="1">
            <a:spLocks/>
          </p:cNvSpPr>
          <p:nvPr/>
        </p:nvSpPr>
        <p:spPr bwMode="auto">
          <a:xfrm>
            <a:off x="3786188" y="4929188"/>
            <a:ext cx="571500" cy="500062"/>
          </a:xfrm>
          <a:prstGeom prst="irregularSeal1">
            <a:avLst/>
          </a:prstGeom>
          <a:solidFill>
            <a:srgbClr val="FF0000"/>
          </a:solidFill>
          <a:ln w="25400" cap="flat" cmpd="sng" algn="ctr">
            <a:solidFill>
              <a:schemeClr val="accent1">
                <a:shade val="50000"/>
              </a:schemeClr>
            </a:solidFill>
            <a:prstDash val="solid"/>
            <a:miter lim="800000"/>
            <a:headEnd/>
            <a:tailE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73050" indent="-273050" algn="ctr" defTabSz="914400" eaLnBrk="0">
              <a:lnSpc>
                <a:spcPct val="100000"/>
              </a:lnSpc>
              <a:spcBef>
                <a:spcPct val="20000"/>
              </a:spcBef>
              <a:buClr>
                <a:srgbClr val="0BD0D9"/>
              </a:buClr>
              <a:buSzPct val="95000"/>
              <a:buFont typeface="Wingdings 2" pitchFamily="18" charset="2"/>
              <a:buNone/>
              <a:defRPr/>
            </a:pPr>
            <a:r>
              <a:rPr lang="ru-RU" sz="2600" dirty="0"/>
              <a:t>3</a:t>
            </a:r>
          </a:p>
        </p:txBody>
      </p:sp>
      <p:sp>
        <p:nvSpPr>
          <p:cNvPr id="5134" name="Прямоугольник 26"/>
          <p:cNvSpPr>
            <a:spLocks noChangeArrowheads="1"/>
          </p:cNvSpPr>
          <p:nvPr/>
        </p:nvSpPr>
        <p:spPr bwMode="auto">
          <a:xfrm>
            <a:off x="285720" y="285728"/>
            <a:ext cx="8501122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</a:rPr>
              <a:t>Пирамида проблем процесса</a:t>
            </a:r>
            <a:r>
              <a:rPr lang="ru-RU" altLang="ru-RU" sz="2400" b="1" dirty="0" smtClean="0">
                <a:solidFill>
                  <a:schemeClr val="accent1">
                    <a:lumMod val="75000"/>
                  </a:schemeClr>
                </a:solidFill>
                <a:latin typeface="Franklin Gothic Medium" pitchFamily="34" charset="0"/>
              </a:rPr>
              <a:t> </a:t>
            </a:r>
          </a:p>
          <a:p>
            <a:pPr algn="ctr"/>
            <a:r>
              <a:rPr lang="ru-RU" altLang="ru-RU" sz="2400" b="1" dirty="0" smtClean="0">
                <a:solidFill>
                  <a:schemeClr val="accent1">
                    <a:lumMod val="75000"/>
                  </a:schemeClr>
                </a:solidFill>
                <a:latin typeface="Franklin Gothic Medium" pitchFamily="34" charset="0"/>
              </a:rPr>
              <a:t>«</a:t>
            </a:r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</a:rPr>
              <a:t>Оптимизация процесса «Сбор информации о посещаемости и заболеваемости обучающихся ДОО»  </a:t>
            </a:r>
            <a:endParaRPr lang="ru-RU" sz="2400" b="1" dirty="0">
              <a:solidFill>
                <a:schemeClr val="accent1">
                  <a:lumMod val="75000"/>
                </a:schemeClr>
              </a:solidFill>
              <a:latin typeface="Franklin Gothic Medium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928688" y="2571750"/>
            <a:ext cx="1785937" cy="357188"/>
          </a:xfrm>
          <a:prstGeom prst="roundRect">
            <a:avLst/>
          </a:prstGeom>
          <a:solidFill>
            <a:schemeClr val="bg2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r>
              <a:rPr lang="ru-RU" dirty="0">
                <a:solidFill>
                  <a:schemeClr val="accent4">
                    <a:lumMod val="75000"/>
                  </a:schemeClr>
                </a:solidFill>
              </a:rPr>
              <a:t>Не выявлены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142875" y="4000500"/>
            <a:ext cx="1785938" cy="357188"/>
          </a:xfrm>
          <a:prstGeom prst="roundRect">
            <a:avLst/>
          </a:prstGeom>
          <a:solidFill>
            <a:schemeClr val="bg2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r>
              <a:rPr lang="ru-RU" dirty="0">
                <a:solidFill>
                  <a:schemeClr val="accent4">
                    <a:lumMod val="75000"/>
                  </a:schemeClr>
                </a:solidFill>
              </a:rPr>
              <a:t>Не выявлены</a:t>
            </a:r>
          </a:p>
        </p:txBody>
      </p:sp>
      <p:sp>
        <p:nvSpPr>
          <p:cNvPr id="5137" name="TextBox 66"/>
          <p:cNvSpPr txBox="1">
            <a:spLocks noChangeArrowheads="1"/>
          </p:cNvSpPr>
          <p:nvPr/>
        </p:nvSpPr>
        <p:spPr bwMode="auto">
          <a:xfrm>
            <a:off x="5715000" y="2643182"/>
            <a:ext cx="3429000" cy="2582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</a:pPr>
            <a:r>
              <a:rPr lang="ru-RU" sz="1400" dirty="0">
                <a:solidFill>
                  <a:srgbClr val="000000"/>
                </a:solidFill>
              </a:rPr>
              <a:t>1.Длительный период ожидания  данных в группах</a:t>
            </a:r>
          </a:p>
          <a:p>
            <a:pPr marL="342900" indent="-342900">
              <a:lnSpc>
                <a:spcPct val="150000"/>
              </a:lnSpc>
            </a:pPr>
            <a:r>
              <a:rPr lang="ru-RU" sz="1400" dirty="0">
                <a:solidFill>
                  <a:srgbClr val="000000"/>
                </a:solidFill>
              </a:rPr>
              <a:t>2.Длительность процесса уточнения данных за счет непунктуальности родителей</a:t>
            </a:r>
          </a:p>
          <a:p>
            <a:pPr marL="342900" indent="-342900">
              <a:lnSpc>
                <a:spcPct val="150000"/>
              </a:lnSpc>
            </a:pPr>
            <a:r>
              <a:rPr lang="ru-RU" sz="1400" dirty="0"/>
              <a:t>3.Ручной подсчет данных</a:t>
            </a:r>
          </a:p>
          <a:p>
            <a:pPr marL="342900" indent="-342900">
              <a:lnSpc>
                <a:spcPct val="150000"/>
              </a:lnSpc>
            </a:pPr>
            <a:r>
              <a:rPr lang="ru-RU" sz="1400" dirty="0">
                <a:solidFill>
                  <a:srgbClr val="000000"/>
                </a:solidFill>
              </a:rPr>
              <a:t>4.Отсутствие на рабочем месте</a:t>
            </a:r>
          </a:p>
          <a:p>
            <a:pPr marL="342900" indent="-342900">
              <a:lnSpc>
                <a:spcPct val="150000"/>
              </a:lnSpc>
            </a:pPr>
            <a:endParaRPr lang="ru-RU" sz="11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Номер слайда 3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8643938" y="6429375"/>
            <a:ext cx="450850" cy="28575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/>
            <a:fld id="{F6EFED9C-3036-4EBC-806E-ED89E0143B16}" type="slidenum">
              <a:rPr lang="ru-RU" altLang="ru-RU" b="1" smtClean="0">
                <a:solidFill>
                  <a:srgbClr val="23263C"/>
                </a:solidFill>
                <a:latin typeface="Franklin Gothic Book" pitchFamily="34" charset="0"/>
              </a:rPr>
              <a:pPr algn="ctr"/>
              <a:t>5</a:t>
            </a:fld>
            <a:endParaRPr lang="ru-RU" altLang="ru-RU" b="1">
              <a:solidFill>
                <a:srgbClr val="23263C"/>
              </a:solidFill>
              <a:latin typeface="Franklin Gothic Book" pitchFamily="34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223838" y="332656"/>
            <a:ext cx="8686800" cy="847179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 sz="2000" b="1" dirty="0">
                <a:solidFill>
                  <a:srgbClr val="C00000"/>
                </a:solidFill>
              </a:rPr>
              <a:t>Анализ проблем процесса </a:t>
            </a:r>
            <a:r>
              <a:rPr lang="ru-RU" sz="2000" b="1" dirty="0" smtClean="0">
                <a:solidFill>
                  <a:srgbClr val="C00000"/>
                </a:solidFill>
              </a:rPr>
              <a:t/>
            </a:r>
            <a:br>
              <a:rPr lang="ru-RU" sz="2000" b="1" dirty="0" smtClean="0">
                <a:solidFill>
                  <a:srgbClr val="C00000"/>
                </a:solidFill>
              </a:rPr>
            </a:br>
            <a:r>
              <a:rPr lang="ru-RU" altLang="ru-RU" sz="2000" b="1" dirty="0" smtClean="0">
                <a:solidFill>
                  <a:srgbClr val="C00000"/>
                </a:solidFill>
                <a:latin typeface="Franklin Gothic Medium" pitchFamily="34" charset="0"/>
              </a:rPr>
              <a:t> «</a:t>
            </a:r>
            <a:r>
              <a:rPr lang="ru-RU" sz="2000" b="1" dirty="0" smtClean="0">
                <a:solidFill>
                  <a:srgbClr val="C00000"/>
                </a:solidFill>
              </a:rPr>
              <a:t>Оптимизация процесса «Сбор информации о посещаемости и заболеваемости обучающихся ДОО»</a:t>
            </a:r>
            <a:endParaRPr lang="ru-RU" sz="2000" b="1" dirty="0">
              <a:solidFill>
                <a:srgbClr val="C00000"/>
              </a:solidFill>
            </a:endParaRPr>
          </a:p>
        </p:txBody>
      </p:sp>
      <p:sp>
        <p:nvSpPr>
          <p:cNvPr id="25605" name="Text Box 14"/>
          <p:cNvSpPr txBox="1">
            <a:spLocks noChangeArrowheads="1"/>
          </p:cNvSpPr>
          <p:nvPr/>
        </p:nvSpPr>
        <p:spPr bwMode="auto">
          <a:xfrm>
            <a:off x="6875463" y="1355774"/>
            <a:ext cx="2268537" cy="489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 dirty="0">
                <a:solidFill>
                  <a:schemeClr val="tx2"/>
                </a:solidFill>
              </a:rPr>
              <a:t>Экономия  времени, мин.</a:t>
            </a:r>
          </a:p>
        </p:txBody>
      </p:sp>
      <p:sp>
        <p:nvSpPr>
          <p:cNvPr id="25606" name="Text Box 14"/>
          <p:cNvSpPr txBox="1">
            <a:spLocks noChangeArrowheads="1"/>
          </p:cNvSpPr>
          <p:nvPr/>
        </p:nvSpPr>
        <p:spPr bwMode="auto">
          <a:xfrm>
            <a:off x="881063" y="1427211"/>
            <a:ext cx="1674812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>
                <a:solidFill>
                  <a:schemeClr val="tx2"/>
                </a:solidFill>
              </a:rPr>
              <a:t>Проблема</a:t>
            </a:r>
          </a:p>
        </p:txBody>
      </p:sp>
      <p:sp>
        <p:nvSpPr>
          <p:cNvPr id="25607" name="Text Box 14"/>
          <p:cNvSpPr txBox="1">
            <a:spLocks noChangeArrowheads="1"/>
          </p:cNvSpPr>
          <p:nvPr/>
        </p:nvSpPr>
        <p:spPr bwMode="auto">
          <a:xfrm>
            <a:off x="4418013" y="1424036"/>
            <a:ext cx="1593850" cy="27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46800" bIns="108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/>
            <a:r>
              <a:rPr lang="ru-RU" altLang="ru-RU" sz="1400" b="1">
                <a:solidFill>
                  <a:schemeClr val="tx2"/>
                </a:solidFill>
              </a:rPr>
              <a:t>Решение</a:t>
            </a:r>
          </a:p>
        </p:txBody>
      </p:sp>
      <p:sp>
        <p:nvSpPr>
          <p:cNvPr id="25608" name="TextBox 41"/>
          <p:cNvSpPr txBox="1">
            <a:spLocks noChangeArrowheads="1"/>
          </p:cNvSpPr>
          <p:nvPr/>
        </p:nvSpPr>
        <p:spPr bwMode="auto">
          <a:xfrm>
            <a:off x="285720" y="1857364"/>
            <a:ext cx="3120569" cy="6115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FF0000"/>
                </a:solidFill>
                <a:ea typeface="Microsoft YaHei" pitchFamily="34" charset="-122"/>
              </a:rPr>
              <a:t>Длительный период ожидания данных в группах</a:t>
            </a:r>
          </a:p>
          <a:p>
            <a:pPr algn="ctr" eaLnBrk="1" hangingPunct="1">
              <a:lnSpc>
                <a:spcPct val="80000"/>
              </a:lnSpc>
            </a:pP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25609" name="TextBox 41"/>
          <p:cNvSpPr txBox="1">
            <a:spLocks noChangeArrowheads="1"/>
          </p:cNvSpPr>
          <p:nvPr/>
        </p:nvSpPr>
        <p:spPr bwMode="auto">
          <a:xfrm>
            <a:off x="3786182" y="2357430"/>
            <a:ext cx="2944813" cy="48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indent="19050" algn="ctr" fontAlgn="base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0000"/>
                </a:solidFill>
                <a:ea typeface="Microsoft YaHei" pitchFamily="34" charset="-122"/>
              </a:rPr>
              <a:t>Создание групп в </a:t>
            </a:r>
            <a:r>
              <a:rPr lang="ru-RU" sz="1200" b="1" dirty="0" err="1" smtClean="0">
                <a:solidFill>
                  <a:srgbClr val="000000"/>
                </a:solidFill>
                <a:ea typeface="Microsoft YaHei" pitchFamily="34" charset="-122"/>
              </a:rPr>
              <a:t>м</a:t>
            </a:r>
            <a:r>
              <a:rPr lang="ru-RU" sz="1200" b="1" dirty="0" err="1" smtClean="0"/>
              <a:t>ессенджерах</a:t>
            </a:r>
            <a:endParaRPr lang="ru-RU" sz="1200" b="1" dirty="0" smtClean="0">
              <a:solidFill>
                <a:srgbClr val="000000"/>
              </a:solidFill>
              <a:ea typeface="Microsoft YaHei" pitchFamily="34" charset="-122"/>
            </a:endParaRPr>
          </a:p>
          <a:p>
            <a:pPr lvl="0" indent="19050" fontAlgn="base">
              <a:lnSpc>
                <a:spcPct val="107000"/>
              </a:lnSpc>
              <a:spcBef>
                <a:spcPct val="0"/>
              </a:spcBef>
              <a:spcAft>
                <a:spcPct val="0"/>
              </a:spcAft>
            </a:pPr>
            <a:endParaRPr lang="ru-RU" sz="1200" dirty="0" smtClean="0">
              <a:solidFill>
                <a:srgbClr val="000000"/>
              </a:solidFill>
              <a:latin typeface="Calibri" pitchFamily="34" charset="0"/>
              <a:ea typeface="Microsoft YaHei" pitchFamily="34" charset="-122"/>
              <a:cs typeface="Times New Roman" pitchFamily="18" charset="0"/>
            </a:endParaRPr>
          </a:p>
        </p:txBody>
      </p:sp>
      <p:sp>
        <p:nvSpPr>
          <p:cNvPr id="25610" name="TextBox 41"/>
          <p:cNvSpPr txBox="1">
            <a:spLocks noChangeArrowheads="1"/>
          </p:cNvSpPr>
          <p:nvPr/>
        </p:nvSpPr>
        <p:spPr bwMode="auto">
          <a:xfrm>
            <a:off x="7929586" y="2357430"/>
            <a:ext cx="660660" cy="266869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400" b="1" dirty="0" smtClean="0">
                <a:solidFill>
                  <a:schemeClr val="tx2"/>
                </a:solidFill>
              </a:rPr>
              <a:t>5</a:t>
            </a:r>
            <a:endParaRPr lang="ru-RU" altLang="ru-RU" sz="1400" b="1" dirty="0">
              <a:solidFill>
                <a:schemeClr val="tx2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108396" y="1844824"/>
            <a:ext cx="8905875" cy="1441300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39" name="Стрелка: вправо 3"/>
          <p:cNvSpPr/>
          <p:nvPr/>
        </p:nvSpPr>
        <p:spPr>
          <a:xfrm>
            <a:off x="3571868" y="2428868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40" name="Стрелка: вправо 3"/>
          <p:cNvSpPr/>
          <p:nvPr/>
        </p:nvSpPr>
        <p:spPr>
          <a:xfrm>
            <a:off x="6786578" y="2428868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14" name="TextBox 41"/>
          <p:cNvSpPr txBox="1">
            <a:spLocks noChangeArrowheads="1"/>
          </p:cNvSpPr>
          <p:nvPr/>
        </p:nvSpPr>
        <p:spPr bwMode="auto">
          <a:xfrm>
            <a:off x="214282" y="2500306"/>
            <a:ext cx="3227865" cy="64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FF0000"/>
                </a:solidFill>
                <a:ea typeface="Microsoft YaHei" pitchFamily="34" charset="-122"/>
              </a:rPr>
              <a:t>Длительность процесса уточнения данных за счет непунктуальности родителей</a:t>
            </a:r>
          </a:p>
        </p:txBody>
      </p:sp>
      <p:sp>
        <p:nvSpPr>
          <p:cNvPr id="25620" name="TextBox 41"/>
          <p:cNvSpPr txBox="1">
            <a:spLocks noChangeArrowheads="1"/>
          </p:cNvSpPr>
          <p:nvPr/>
        </p:nvSpPr>
        <p:spPr bwMode="auto">
          <a:xfrm>
            <a:off x="214282" y="3571876"/>
            <a:ext cx="3143240" cy="2857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FF0000"/>
                </a:solidFill>
                <a:ea typeface="Microsoft YaHei" pitchFamily="34" charset="-122"/>
              </a:rPr>
              <a:t>Ручной подсчет данных</a:t>
            </a:r>
          </a:p>
        </p:txBody>
      </p:sp>
      <p:sp>
        <p:nvSpPr>
          <p:cNvPr id="25621" name="TextBox 41"/>
          <p:cNvSpPr txBox="1">
            <a:spLocks noChangeArrowheads="1"/>
          </p:cNvSpPr>
          <p:nvPr/>
        </p:nvSpPr>
        <p:spPr bwMode="auto">
          <a:xfrm>
            <a:off x="3857620" y="3357562"/>
            <a:ext cx="2944813" cy="648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 dirty="0" smtClean="0">
                <a:solidFill>
                  <a:srgbClr val="000000"/>
                </a:solidFill>
                <a:ea typeface="Microsoft YaHei" pitchFamily="34" charset="-122"/>
              </a:rPr>
              <a:t>Подготовка электронных таблиц в </a:t>
            </a:r>
            <a:r>
              <a:rPr lang="en-US" sz="1200" b="1" dirty="0" smtClean="0">
                <a:solidFill>
                  <a:srgbClr val="000000"/>
                </a:solidFill>
                <a:ea typeface="Microsoft YaHei" pitchFamily="34" charset="-122"/>
              </a:rPr>
              <a:t>Ex</a:t>
            </a:r>
            <a:r>
              <a:rPr lang="ru-RU" sz="1200" b="1" dirty="0" smtClean="0">
                <a:solidFill>
                  <a:srgbClr val="000000"/>
                </a:solidFill>
                <a:ea typeface="Microsoft YaHei" pitchFamily="34" charset="-122"/>
              </a:rPr>
              <a:t>с</a:t>
            </a:r>
            <a:r>
              <a:rPr lang="en-US" sz="1200" b="1" dirty="0" smtClean="0">
                <a:solidFill>
                  <a:srgbClr val="000000"/>
                </a:solidFill>
                <a:ea typeface="Microsoft YaHei" pitchFamily="34" charset="-122"/>
              </a:rPr>
              <a:t>el</a:t>
            </a:r>
            <a:r>
              <a:rPr lang="ru-RU" sz="1200" b="1" dirty="0" smtClean="0">
                <a:solidFill>
                  <a:srgbClr val="000000"/>
                </a:solidFill>
                <a:ea typeface="Microsoft YaHei" pitchFamily="34" charset="-122"/>
              </a:rPr>
              <a:t>  для внесения и обработки  данных</a:t>
            </a:r>
          </a:p>
        </p:txBody>
      </p:sp>
      <p:sp>
        <p:nvSpPr>
          <p:cNvPr id="25622" name="TextBox 41"/>
          <p:cNvSpPr txBox="1">
            <a:spLocks noChangeArrowheads="1"/>
          </p:cNvSpPr>
          <p:nvPr/>
        </p:nvSpPr>
        <p:spPr bwMode="auto">
          <a:xfrm>
            <a:off x="7941120" y="3586138"/>
            <a:ext cx="638435" cy="242247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17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130621" y="3418037"/>
            <a:ext cx="8905875" cy="636587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3" name="Стрелка: вправо 3"/>
          <p:cNvSpPr/>
          <p:nvPr/>
        </p:nvSpPr>
        <p:spPr>
          <a:xfrm>
            <a:off x="3527871" y="3584724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4" name="Стрелка: вправо 3"/>
          <p:cNvSpPr/>
          <p:nvPr/>
        </p:nvSpPr>
        <p:spPr>
          <a:xfrm>
            <a:off x="6848921" y="3584724"/>
            <a:ext cx="174625" cy="21748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25626" name="TextBox 41"/>
          <p:cNvSpPr txBox="1">
            <a:spLocks noChangeArrowheads="1"/>
          </p:cNvSpPr>
          <p:nvPr/>
        </p:nvSpPr>
        <p:spPr bwMode="auto">
          <a:xfrm>
            <a:off x="214282" y="4286256"/>
            <a:ext cx="3281362" cy="2791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 smtClean="0">
                <a:solidFill>
                  <a:srgbClr val="FF0000"/>
                </a:solidFill>
              </a:rPr>
              <a:t>Отсутствие на рабочем месте</a:t>
            </a:r>
          </a:p>
        </p:txBody>
      </p:sp>
      <p:sp>
        <p:nvSpPr>
          <p:cNvPr id="25627" name="TextBox 41"/>
          <p:cNvSpPr txBox="1">
            <a:spLocks noChangeArrowheads="1"/>
          </p:cNvSpPr>
          <p:nvPr/>
        </p:nvSpPr>
        <p:spPr bwMode="auto">
          <a:xfrm>
            <a:off x="3832671" y="4238774"/>
            <a:ext cx="2944813" cy="463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b="1" dirty="0" smtClean="0"/>
              <a:t>Подключение к единым  электронным формам связи</a:t>
            </a:r>
          </a:p>
        </p:txBody>
      </p:sp>
      <p:sp>
        <p:nvSpPr>
          <p:cNvPr id="25628" name="TextBox 41"/>
          <p:cNvSpPr txBox="1">
            <a:spLocks noChangeArrowheads="1"/>
          </p:cNvSpPr>
          <p:nvPr/>
        </p:nvSpPr>
        <p:spPr bwMode="auto">
          <a:xfrm>
            <a:off x="7941120" y="4302274"/>
            <a:ext cx="638435" cy="241300"/>
          </a:xfrm>
          <a:prstGeom prst="rect">
            <a:avLst/>
          </a:prstGeom>
          <a:noFill/>
          <a:ln w="19050">
            <a:solidFill>
              <a:srgbClr val="C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tIns="82800" bIns="1080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80000"/>
              </a:lnSpc>
            </a:pPr>
            <a:r>
              <a:rPr lang="ru-RU" altLang="ru-RU" sz="1200" b="1" dirty="0" smtClean="0">
                <a:solidFill>
                  <a:schemeClr val="tx2"/>
                </a:solidFill>
              </a:rPr>
              <a:t>7</a:t>
            </a:r>
            <a:endParaRPr lang="ru-RU" altLang="ru-RU" sz="1200" b="1" dirty="0">
              <a:solidFill>
                <a:schemeClr val="tx2"/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130621" y="4176862"/>
            <a:ext cx="8905875" cy="633412"/>
          </a:xfrm>
          <a:prstGeom prst="rect">
            <a:avLst/>
          </a:prstGeom>
          <a:noFill/>
          <a:ln>
            <a:solidFill>
              <a:srgbClr val="248FA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ru-RU"/>
          </a:p>
        </p:txBody>
      </p:sp>
      <p:sp>
        <p:nvSpPr>
          <p:cNvPr id="59" name="Стрелка: вправо 3"/>
          <p:cNvSpPr/>
          <p:nvPr/>
        </p:nvSpPr>
        <p:spPr>
          <a:xfrm>
            <a:off x="3527871" y="43387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0" name="Стрелка: вправо 3"/>
          <p:cNvSpPr/>
          <p:nvPr/>
        </p:nvSpPr>
        <p:spPr>
          <a:xfrm>
            <a:off x="6848921" y="4338787"/>
            <a:ext cx="174625" cy="21748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8579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/>
          <p:nvPr/>
        </p:nvSpPr>
        <p:spPr>
          <a:xfrm>
            <a:off x="3214688" y="1857375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6143625" y="17859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3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2643188" y="3500438"/>
            <a:ext cx="504825" cy="36036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5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285750" y="1857375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1</a:t>
            </a:r>
          </a:p>
        </p:txBody>
      </p:sp>
      <p:sp>
        <p:nvSpPr>
          <p:cNvPr id="7174" name="Заголовок 1"/>
          <p:cNvSpPr>
            <a:spLocks noGrp="1"/>
          </p:cNvSpPr>
          <p:nvPr>
            <p:ph type="title"/>
          </p:nvPr>
        </p:nvSpPr>
        <p:spPr>
          <a:xfrm>
            <a:off x="60448" y="385762"/>
            <a:ext cx="9144000" cy="838200"/>
          </a:xfrm>
        </p:spPr>
        <p:txBody>
          <a:bodyPr>
            <a:noAutofit/>
          </a:bodyPr>
          <a:lstStyle/>
          <a:p>
            <a:pPr eaLnBrk="1" hangingPunct="1">
              <a:tabLst>
                <a:tab pos="630238" algn="l"/>
              </a:tabLst>
            </a:pPr>
            <a:r>
              <a:rPr lang="ru-RU" sz="2000" b="1" dirty="0" smtClean="0">
                <a:solidFill>
                  <a:srgbClr val="FF0000"/>
                </a:solidFill>
                <a:latin typeface="Franklin Gothic Medium" pitchFamily="34" charset="0"/>
              </a:rPr>
              <a:t>Карта целевого состояния процесса</a:t>
            </a:r>
            <a:br>
              <a:rPr lang="ru-RU" sz="2000" b="1" dirty="0" smtClean="0">
                <a:solidFill>
                  <a:srgbClr val="FF0000"/>
                </a:solidFill>
                <a:latin typeface="Franklin Gothic Medium" pitchFamily="34" charset="0"/>
              </a:rPr>
            </a:br>
            <a:r>
              <a:rPr lang="ru-RU" altLang="ru-RU" sz="2000" b="1" dirty="0" smtClean="0">
                <a:solidFill>
                  <a:srgbClr val="FF0000"/>
                </a:solidFill>
                <a:latin typeface="Franklin Gothic Medium" pitchFamily="34" charset="0"/>
              </a:rPr>
              <a:t>«</a:t>
            </a:r>
            <a:r>
              <a:rPr lang="ru-RU" sz="2000" b="1" dirty="0" smtClean="0">
                <a:solidFill>
                  <a:srgbClr val="FF0000"/>
                </a:solidFill>
              </a:rPr>
              <a:t>Оптимизация процесса «Сбор информации о посещаемости и заболеваемости обучающихся ДОО»</a:t>
            </a:r>
            <a:endParaRPr lang="ru-RU" sz="2000" b="1" dirty="0" smtClean="0">
              <a:solidFill>
                <a:srgbClr val="FF0000"/>
              </a:solidFill>
              <a:latin typeface="Franklin Gothic Medium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57158" y="2143116"/>
            <a:ext cx="1928826" cy="1214446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/>
              <a:t>Ст. воспитатель </a:t>
            </a:r>
            <a:endParaRPr lang="ru-RU" sz="1100" strike="sngStrike" dirty="0"/>
          </a:p>
          <a:p>
            <a:pPr algn="ctr"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/>
              <a:t>Поручение о предоставлении  информации о посещаемости и заболеваемости в  ДОО</a:t>
            </a:r>
          </a:p>
          <a:p>
            <a:pPr algn="ctr"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>
                <a:solidFill>
                  <a:schemeClr val="tx1"/>
                </a:solidFill>
              </a:rPr>
              <a:t>(3-5 мин.) 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57188" y="3143250"/>
            <a:ext cx="1928812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Прямоугольник 24"/>
          <p:cNvSpPr/>
          <p:nvPr/>
        </p:nvSpPr>
        <p:spPr>
          <a:xfrm>
            <a:off x="3357563" y="2143125"/>
            <a:ext cx="1714500" cy="121443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>
                <a:solidFill>
                  <a:schemeClr val="tx1"/>
                </a:solidFill>
                <a:ea typeface="Microsoft YaHei" pitchFamily="34" charset="-122"/>
              </a:rPr>
              <a:t>Мед. сестра</a:t>
            </a:r>
          </a:p>
          <a:p>
            <a:pPr algn="ctr">
              <a:defRPr/>
            </a:pPr>
            <a:endParaRPr lang="ru-RU" sz="800" dirty="0">
              <a:solidFill>
                <a:schemeClr val="tx1"/>
              </a:solidFill>
              <a:ea typeface="Microsoft YaHei" pitchFamily="34" charset="-122"/>
            </a:endParaRPr>
          </a:p>
          <a:p>
            <a:pPr algn="ctr">
              <a:defRPr/>
            </a:pPr>
            <a:r>
              <a:rPr lang="ru-RU" sz="1000" dirty="0">
                <a:solidFill>
                  <a:srgbClr val="000000"/>
                </a:solidFill>
                <a:ea typeface="Microsoft YaHei" pitchFamily="34" charset="-122"/>
                <a:cs typeface="Times New Roman" pitchFamily="18" charset="0"/>
              </a:rPr>
              <a:t>Уточнение информации  у воспитателей групп</a:t>
            </a:r>
          </a:p>
          <a:p>
            <a:pPr algn="ctr" hangingPunct="1">
              <a:lnSpc>
                <a:spcPct val="107000"/>
              </a:lnSpc>
              <a:buClrTx/>
              <a:buSzTx/>
              <a:defRPr/>
            </a:pP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(группы в </a:t>
            </a:r>
            <a:r>
              <a:rPr lang="ru-RU" sz="1000" dirty="0" err="1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мессенджерах</a:t>
            </a:r>
            <a:r>
              <a:rPr lang="ru-RU" sz="10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)</a:t>
            </a:r>
          </a:p>
          <a:p>
            <a:pPr algn="ctr">
              <a:defRPr/>
            </a:pPr>
            <a:endParaRPr lang="ru-RU" sz="600" dirty="0">
              <a:solidFill>
                <a:schemeClr val="tx1"/>
              </a:solidFill>
              <a:ea typeface="Microsoft YaHei" pitchFamily="34" charset="-122"/>
            </a:endParaRPr>
          </a:p>
          <a:p>
            <a:pPr algn="ctr">
              <a:defRPr/>
            </a:pPr>
            <a:endParaRPr lang="ru-RU" sz="600" dirty="0">
              <a:solidFill>
                <a:schemeClr val="tx1"/>
              </a:solidFill>
              <a:ea typeface="Microsoft YaHei" pitchFamily="34" charset="-122"/>
            </a:endParaRPr>
          </a:p>
          <a:p>
            <a:pPr algn="ctr">
              <a:defRPr/>
            </a:pPr>
            <a:endParaRPr lang="ru-RU" sz="500" dirty="0">
              <a:solidFill>
                <a:schemeClr val="tx1"/>
              </a:solidFill>
              <a:ea typeface="Microsoft YaHei" pitchFamily="34" charset="-122"/>
            </a:endParaRPr>
          </a:p>
          <a:p>
            <a:pPr algn="ctr">
              <a:defRPr/>
            </a:pPr>
            <a:r>
              <a:rPr lang="ru-RU" sz="900" dirty="0">
                <a:solidFill>
                  <a:schemeClr val="tx1"/>
                </a:solidFill>
                <a:ea typeface="Microsoft YaHei" pitchFamily="34" charset="-122"/>
              </a:rPr>
              <a:t>(25-30 мин.) </a:t>
            </a:r>
          </a:p>
        </p:txBody>
      </p:sp>
      <p:sp>
        <p:nvSpPr>
          <p:cNvPr id="26" name="Стрелка вправо 25"/>
          <p:cNvSpPr/>
          <p:nvPr/>
        </p:nvSpPr>
        <p:spPr>
          <a:xfrm>
            <a:off x="5500688" y="2571750"/>
            <a:ext cx="352425" cy="214313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27" name="Прямая соединительная линия 26"/>
          <p:cNvCxnSpPr/>
          <p:nvPr/>
        </p:nvCxnSpPr>
        <p:spPr>
          <a:xfrm>
            <a:off x="3357563" y="3143250"/>
            <a:ext cx="171450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285750" y="3786188"/>
            <a:ext cx="2000250" cy="128587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>
                <a:solidFill>
                  <a:schemeClr val="tx1"/>
                </a:solidFill>
              </a:rPr>
              <a:t>Мед. сестра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/>
              <a:t>Передача информации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/>
              <a:t>ст. воспитателю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5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latin typeface="Times New Roman" pitchFamily="18" charset="0"/>
                <a:cs typeface="Times New Roman" pitchFamily="18" charset="0"/>
              </a:rPr>
              <a:t>(по единым  электронным формам связи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600" dirty="0">
              <a:solidFill>
                <a:schemeClr val="tx1"/>
              </a:solidFill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</a:rPr>
              <a:t>(2-3 мин.) </a:t>
            </a:r>
          </a:p>
        </p:txBody>
      </p:sp>
      <p:sp>
        <p:nvSpPr>
          <p:cNvPr id="32" name="Стрелка вправо 31"/>
          <p:cNvSpPr/>
          <p:nvPr/>
        </p:nvSpPr>
        <p:spPr>
          <a:xfrm>
            <a:off x="2357438" y="4214813"/>
            <a:ext cx="357187" cy="214312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33" name="Прямая соединительная линия 32"/>
          <p:cNvCxnSpPr/>
          <p:nvPr/>
        </p:nvCxnSpPr>
        <p:spPr>
          <a:xfrm>
            <a:off x="285750" y="4857750"/>
            <a:ext cx="200025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Прямоугольник 37"/>
          <p:cNvSpPr/>
          <p:nvPr/>
        </p:nvSpPr>
        <p:spPr>
          <a:xfrm>
            <a:off x="2786063" y="3786188"/>
            <a:ext cx="2000250" cy="128587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/>
              <a:t>Ст. воспитатель</a:t>
            </a:r>
            <a:endParaRPr lang="ru-RU" sz="1100" dirty="0">
              <a:solidFill>
                <a:srgbClr val="FF0000"/>
              </a:solidFill>
            </a:endParaRPr>
          </a:p>
          <a:p>
            <a:pPr algn="ctr">
              <a:defRPr/>
            </a:pPr>
            <a:endParaRPr lang="ru-RU" sz="8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100" dirty="0"/>
              <a:t>Заполнение бланка и отправка информации в соответствии с запросом</a:t>
            </a:r>
            <a:endParaRPr lang="ru-RU" sz="5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>
                <a:solidFill>
                  <a:schemeClr val="tx1"/>
                </a:solidFill>
              </a:rPr>
              <a:t>(использование электронных таблиц </a:t>
            </a:r>
            <a:r>
              <a:rPr lang="en-US" sz="9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Ex</a:t>
            </a:r>
            <a:r>
              <a:rPr lang="ru-RU" sz="9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с</a:t>
            </a:r>
            <a:r>
              <a:rPr lang="en-US" sz="9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el</a:t>
            </a:r>
            <a:r>
              <a:rPr lang="ru-RU" sz="9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 )</a:t>
            </a:r>
            <a:r>
              <a:rPr lang="ru-RU" sz="900" dirty="0">
                <a:solidFill>
                  <a:schemeClr val="tx1"/>
                </a:solidFill>
              </a:rPr>
              <a:t> </a:t>
            </a:r>
            <a:endParaRPr lang="ru-RU" sz="6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>
                <a:solidFill>
                  <a:schemeClr val="tx1"/>
                </a:solidFill>
              </a:rPr>
              <a:t> (2-3 мин.) </a:t>
            </a:r>
          </a:p>
        </p:txBody>
      </p:sp>
      <p:sp>
        <p:nvSpPr>
          <p:cNvPr id="40" name="Стрелка вправо 39"/>
          <p:cNvSpPr/>
          <p:nvPr/>
        </p:nvSpPr>
        <p:spPr>
          <a:xfrm>
            <a:off x="0" y="4286250"/>
            <a:ext cx="288925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43" name="Прямая соединительная линия 42"/>
          <p:cNvCxnSpPr/>
          <p:nvPr/>
        </p:nvCxnSpPr>
        <p:spPr>
          <a:xfrm>
            <a:off x="2786063" y="4857750"/>
            <a:ext cx="200025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TextBox 48"/>
          <p:cNvSpPr txBox="1"/>
          <p:nvPr/>
        </p:nvSpPr>
        <p:spPr>
          <a:xfrm>
            <a:off x="428596" y="5643578"/>
            <a:ext cx="2643206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ВПП </a:t>
            </a:r>
            <a:r>
              <a:rPr lang="ru-RU" sz="1400" b="1" dirty="0" smtClean="0">
                <a:solidFill>
                  <a:srgbClr val="C00000"/>
                </a:solidFill>
                <a:cs typeface="Arial" charset="0"/>
              </a:rPr>
              <a:t> =</a:t>
            </a:r>
            <a:r>
              <a:rPr lang="ru-RU" sz="1400" b="1" dirty="0" smtClean="0">
                <a:solidFill>
                  <a:srgbClr val="C00000"/>
                </a:solidFill>
                <a:latin typeface="+mn-lt"/>
                <a:cs typeface="Arial" charset="0"/>
              </a:rPr>
              <a:t> 46 </a:t>
            </a:r>
            <a:r>
              <a:rPr lang="ru-RU" sz="1400" b="1" dirty="0">
                <a:solidFill>
                  <a:srgbClr val="C00000"/>
                </a:solidFill>
                <a:latin typeface="+mn-lt"/>
                <a:cs typeface="Arial" charset="0"/>
              </a:rPr>
              <a:t>мин</a:t>
            </a:r>
            <a:r>
              <a:rPr lang="ru-RU" sz="1400" b="1" dirty="0" smtClean="0">
                <a:solidFill>
                  <a:srgbClr val="C00000"/>
                </a:solidFill>
                <a:latin typeface="+mn-lt"/>
                <a:cs typeface="Arial" charset="0"/>
              </a:rPr>
              <a:t>.</a:t>
            </a:r>
          </a:p>
          <a:p>
            <a:pPr>
              <a:defRPr/>
            </a:pPr>
            <a:r>
              <a:rPr lang="ru-RU" sz="1400" b="1" dirty="0" smtClean="0">
                <a:solidFill>
                  <a:srgbClr val="C00000"/>
                </a:solidFill>
                <a:cs typeface="Arial" charset="0"/>
              </a:rPr>
              <a:t>Экономия  =  29 мин.</a:t>
            </a:r>
            <a:endParaRPr lang="ru-RU" sz="1400" b="1" dirty="0">
              <a:solidFill>
                <a:srgbClr val="C00000"/>
              </a:solidFill>
              <a:latin typeface="+mn-lt"/>
              <a:cs typeface="Arial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142875" y="3571875"/>
            <a:ext cx="504825" cy="3603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4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6286500" y="2071688"/>
            <a:ext cx="1714500" cy="128587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algn="ctr">
              <a:defRPr/>
            </a:pPr>
            <a:r>
              <a:rPr lang="ru-RU" sz="1100" dirty="0"/>
              <a:t>Мед. сестра</a:t>
            </a:r>
            <a:endParaRPr lang="ru-RU" sz="700" b="1" dirty="0"/>
          </a:p>
          <a:p>
            <a:pPr algn="ctr">
              <a:defRPr/>
            </a:pPr>
            <a:endParaRPr lang="ru-RU" sz="800" b="1" dirty="0"/>
          </a:p>
          <a:p>
            <a:pPr algn="ctr">
              <a:defRPr/>
            </a:pPr>
            <a:r>
              <a:rPr lang="ru-RU" sz="900" dirty="0">
                <a:cs typeface="Times New Roman" panose="02020603050405020304" pitchFamily="18" charset="0"/>
              </a:rPr>
              <a:t>Анализ полученной информации</a:t>
            </a:r>
          </a:p>
          <a:p>
            <a:pPr algn="ctr">
              <a:defRPr/>
            </a:pPr>
            <a:r>
              <a:rPr lang="ru-RU" sz="900" dirty="0">
                <a:solidFill>
                  <a:schemeClr val="tx1"/>
                </a:solidFill>
              </a:rPr>
              <a:t>(использование электронных таблиц </a:t>
            </a:r>
            <a:r>
              <a:rPr lang="en-US" sz="9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Ex</a:t>
            </a:r>
            <a:r>
              <a:rPr lang="ru-RU" sz="9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с</a:t>
            </a:r>
            <a:r>
              <a:rPr lang="en-US" sz="9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el</a:t>
            </a:r>
            <a:r>
              <a:rPr lang="ru-RU" sz="900" dirty="0">
                <a:solidFill>
                  <a:srgbClr val="000000"/>
                </a:solidFill>
                <a:latin typeface="Times New Roman" pitchFamily="18" charset="0"/>
                <a:ea typeface="Microsoft YaHei" pitchFamily="34" charset="-122"/>
                <a:cs typeface="Times New Roman" pitchFamily="18" charset="0"/>
              </a:rPr>
              <a:t> )</a:t>
            </a:r>
            <a:r>
              <a:rPr lang="ru-RU" sz="900" dirty="0">
                <a:solidFill>
                  <a:schemeClr val="tx1"/>
                </a:solidFill>
              </a:rPr>
              <a:t> </a:t>
            </a: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endParaRPr lang="ru-RU" sz="900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900" dirty="0">
                <a:solidFill>
                  <a:schemeClr val="tx1"/>
                </a:solidFill>
              </a:rPr>
              <a:t> (3-5 мин.)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6286500" y="2357438"/>
            <a:ext cx="1714500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43938" y="6715125"/>
            <a:ext cx="347662" cy="285750"/>
          </a:xfrm>
        </p:spPr>
        <p:txBody>
          <a:bodyPr/>
          <a:lstStyle/>
          <a:p>
            <a:pPr algn="ctr">
              <a:defRPr/>
            </a:pPr>
            <a:fld id="{2D245CFF-CBEF-459C-AEF8-37118D32306B}" type="slidenum">
              <a:rPr lang="ru-RU" b="1">
                <a:solidFill>
                  <a:schemeClr val="accent5">
                    <a:lumMod val="50000"/>
                  </a:schemeClr>
                </a:solidFill>
              </a:rPr>
              <a:pPr algn="ctr">
                <a:defRPr/>
              </a:pPr>
              <a:t>6</a:t>
            </a:fld>
            <a:endParaRPr lang="ru-RU" b="1" dirty="0">
              <a:solidFill>
                <a:schemeClr val="accent5">
                  <a:lumMod val="50000"/>
                </a:schemeClr>
              </a:solidFill>
            </a:endParaRPr>
          </a:p>
        </p:txBody>
      </p:sp>
      <p:cxnSp>
        <p:nvCxnSpPr>
          <p:cNvPr id="110" name="Прямая соединительная линия 109"/>
          <p:cNvCxnSpPr/>
          <p:nvPr/>
        </p:nvCxnSpPr>
        <p:spPr>
          <a:xfrm>
            <a:off x="357188" y="2357438"/>
            <a:ext cx="1928812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единительная линия 114"/>
          <p:cNvCxnSpPr/>
          <p:nvPr/>
        </p:nvCxnSpPr>
        <p:spPr>
          <a:xfrm>
            <a:off x="285750" y="4071938"/>
            <a:ext cx="2000250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Прямая соединительная линия 116"/>
          <p:cNvCxnSpPr/>
          <p:nvPr/>
        </p:nvCxnSpPr>
        <p:spPr>
          <a:xfrm>
            <a:off x="3357563" y="2357438"/>
            <a:ext cx="1714500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Прямая соединительная линия 121"/>
          <p:cNvCxnSpPr/>
          <p:nvPr/>
        </p:nvCxnSpPr>
        <p:spPr>
          <a:xfrm>
            <a:off x="6286500" y="3143250"/>
            <a:ext cx="1714500" cy="1588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единительная линия 127"/>
          <p:cNvCxnSpPr/>
          <p:nvPr/>
        </p:nvCxnSpPr>
        <p:spPr>
          <a:xfrm>
            <a:off x="2786063" y="4071938"/>
            <a:ext cx="2000250" cy="158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Стрелка вправо 16"/>
          <p:cNvSpPr/>
          <p:nvPr/>
        </p:nvSpPr>
        <p:spPr>
          <a:xfrm>
            <a:off x="2714625" y="2643188"/>
            <a:ext cx="309563" cy="2159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52" name="Прямоугольник 51"/>
          <p:cNvSpPr/>
          <p:nvPr/>
        </p:nvSpPr>
        <p:spPr>
          <a:xfrm>
            <a:off x="142844" y="2143116"/>
            <a:ext cx="214282" cy="1295574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ХОД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4714876" y="3643314"/>
            <a:ext cx="357190" cy="1357322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b="1" dirty="0"/>
              <a:t>ВЫХОД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47650" y="116632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Достигнутые результаты (было и стало)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7</a:t>
            </a:fld>
            <a:endParaRPr lang="ru-RU" sz="140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24532114"/>
              </p:ext>
            </p:extLst>
          </p:nvPr>
        </p:nvGraphicFramePr>
        <p:xfrm>
          <a:off x="247650" y="764705"/>
          <a:ext cx="8716839" cy="5688632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223611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024336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45638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8920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59511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endParaRPr lang="ru-RU" sz="18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Длительный период ожидания данных в группах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800" dirty="0" smtClean="0">
                        <a:effectLst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800" dirty="0" smtClean="0">
                        <a:effectLst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800" dirty="0" smtClean="0">
                        <a:effectLst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800" dirty="0" smtClean="0">
                        <a:effectLst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800" dirty="0" smtClean="0">
                        <a:effectLst/>
                      </a:endParaRP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800" dirty="0" smtClean="0">
                          <a:effectLst/>
                        </a:rPr>
                        <a:t>Созданы</a:t>
                      </a:r>
                      <a:r>
                        <a:rPr lang="ru-RU" sz="1800" baseline="0" dirty="0" smtClean="0">
                          <a:effectLst/>
                        </a:rPr>
                        <a:t> группы в мессенджерах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139912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Длительный процесс уточнения данных за счет непунктуальности родителей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800" dirty="0" smtClean="0">
                          <a:effectLst/>
                        </a:rPr>
                        <a:t> 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pic>
        <p:nvPicPr>
          <p:cNvPr id="2" name="Рисунок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2160" y="1268760"/>
            <a:ext cx="2376264" cy="4752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5931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1704" name="Object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8</a:t>
            </a:fld>
            <a:endParaRPr lang="ru-RU" sz="140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4039916"/>
              </p:ext>
            </p:extLst>
          </p:nvPr>
        </p:nvGraphicFramePr>
        <p:xfrm>
          <a:off x="247650" y="476673"/>
          <a:ext cx="8716839" cy="5551424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216411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168352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38437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648071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903353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endParaRPr lang="ru-RU" sz="1800" dirty="0" smtClean="0">
                        <a:effectLst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800" dirty="0" smtClean="0">
                          <a:effectLst/>
                        </a:rPr>
                        <a:t>Ручной подсчет данных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endParaRPr lang="ru-RU" sz="1800" dirty="0" smtClean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Подготовлена электронная таблица в </a:t>
                      </a:r>
                      <a:r>
                        <a:rPr lang="ru-RU" sz="1800" dirty="0" err="1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Exсel</a:t>
                      </a:r>
                      <a:r>
                        <a:rPr lang="ru-RU" sz="18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  для внесения и обработки  данных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1484784"/>
            <a:ext cx="2901679" cy="41044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44858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71704" name="Object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6974904" y="6356350"/>
            <a:ext cx="2133600" cy="365125"/>
          </a:xfrm>
        </p:spPr>
        <p:txBody>
          <a:bodyPr/>
          <a:lstStyle/>
          <a:p>
            <a:fld id="{B19B0651-EE4F-4900-A07F-96A6BFA9D0F0}" type="slidenum">
              <a:rPr lang="ru-RU" sz="1400" smtClean="0"/>
              <a:pPr/>
              <a:t>9</a:t>
            </a:fld>
            <a:endParaRPr lang="ru-RU" sz="140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7452303"/>
              </p:ext>
            </p:extLst>
          </p:nvPr>
        </p:nvGraphicFramePr>
        <p:xfrm>
          <a:off x="179512" y="476672"/>
          <a:ext cx="8777386" cy="5879678"/>
        </p:xfrm>
        <a:graphic>
          <a:graphicData uri="http://schemas.openxmlformats.org/drawingml/2006/table">
            <a:tbl>
              <a:tblPr firstRow="1" firstCol="1" bandRow="1">
                <a:tableStyleId>{B301B821-A1FF-4177-AEE7-76D212191A09}</a:tableStyleId>
              </a:tblPr>
              <a:tblGrid>
                <a:gridCol w="2372469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310013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330477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734715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БЫЛО</a:t>
                      </a:r>
                      <a:endParaRPr lang="ru-RU" sz="1600" b="1" u="none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spc="0" dirty="0">
                          <a:effectLst/>
                        </a:rPr>
                        <a:t>СТАЛО</a:t>
                      </a: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697886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70510" algn="l"/>
                        </a:tabLst>
                        <a:defRPr/>
                      </a:pPr>
                      <a:r>
                        <a:rPr lang="ru-RU" sz="1800" dirty="0" smtClean="0">
                          <a:effectLst/>
                        </a:rPr>
                        <a:t>Отсутствие на рабочем месте 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800" dirty="0">
                          <a:effectLst/>
                        </a:rPr>
                        <a:t> </a:t>
                      </a:r>
                      <a:r>
                        <a:rPr lang="ru-RU" sz="1800" dirty="0" smtClean="0">
                          <a:effectLst/>
                        </a:rPr>
                        <a:t>Подключены к единым электронным формам связи</a:t>
                      </a:r>
                      <a:endParaRPr lang="ru-RU" sz="1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123248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лительность процесса – </a:t>
                      </a:r>
                      <a:r>
                        <a:rPr lang="ru-RU" sz="1600" b="1" u="none" strike="noStrike" kern="1200" spc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5 </a:t>
                      </a:r>
                      <a:r>
                        <a:rPr lang="ru-RU" sz="16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ин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Длительность процесса – </a:t>
                      </a:r>
                      <a:endParaRPr lang="ru-RU" sz="1600" b="1" u="none" strike="noStrike" kern="1200" spc="0" dirty="0" smtClean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b="1" u="none" strike="noStrike" kern="1200" spc="0" dirty="0" smtClean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6 </a:t>
                      </a:r>
                      <a:r>
                        <a:rPr lang="ru-RU" sz="1600" b="1" u="none" strike="noStrike" kern="1200" spc="0" dirty="0">
                          <a:solidFill>
                            <a:schemeClr val="l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ин</a:t>
                      </a: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tc vMerge="1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400" b="1" u="none" strike="noStrike" kern="1200" spc="0" dirty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8629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323829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dirty="0" smtClean="0">
                          <a:effectLst/>
                        </a:rPr>
                        <a:t>Оптимизация процесса «Сбор информации о посещаемости и заболеваемости обучающихся ДОО»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r>
                        <a:rPr lang="ru-RU" sz="1600" dirty="0" smtClean="0">
                          <a:effectLst/>
                        </a:rPr>
                        <a:t>с 75 </a:t>
                      </a:r>
                      <a:r>
                        <a:rPr lang="ru-RU" sz="1600" dirty="0">
                          <a:effectLst/>
                        </a:rPr>
                        <a:t>мин. до </a:t>
                      </a:r>
                      <a:r>
                        <a:rPr lang="ru-RU" sz="1600" dirty="0" smtClean="0">
                          <a:effectLst/>
                        </a:rPr>
                        <a:t>46 </a:t>
                      </a:r>
                      <a:r>
                        <a:rPr lang="ru-RU" sz="1600" dirty="0">
                          <a:effectLst/>
                        </a:rPr>
                        <a:t>мин.</a:t>
                      </a:r>
                      <a:endParaRPr lang="ru-RU" sz="1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270510" algn="l"/>
                        </a:tabLst>
                      </a:pPr>
                      <a:endParaRPr lang="ru-RU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6355" marR="26355" marT="0" marB="0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4785247" y="2495673"/>
            <a:ext cx="4957905" cy="26480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30696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19</TotalTime>
  <Words>572</Words>
  <Application>Microsoft Office PowerPoint</Application>
  <PresentationFormat>Экран (4:3)</PresentationFormat>
  <Paragraphs>197</Paragraphs>
  <Slides>9</Slides>
  <Notes>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1" baseType="lpstr">
      <vt:lpstr>Тема Office</vt:lpstr>
      <vt:lpstr>think-cell Slide</vt:lpstr>
      <vt:lpstr>  Паспорт проекта «Оптимизация процесса «Сбор информации о посещаемости и заболеваемости обучающихся ДОО»   </vt:lpstr>
      <vt:lpstr>Команда проекта </vt:lpstr>
      <vt:lpstr>Карта текущего состояния процесса «Оптимизация процесса «Сбор информации о посещаемости и заболеваемости обучающихся ДОО»</vt:lpstr>
      <vt:lpstr>Презентация PowerPoint</vt:lpstr>
      <vt:lpstr>Анализ проблем процесса   «Оптимизация процесса «Сбор информации о посещаемости и заболеваемости обучающихся ДОО»</vt:lpstr>
      <vt:lpstr>Карта целевого состояния процесса «Оптимизация процесса «Сбор информации о посещаемости и заболеваемости обучающихся ДОО»</vt:lpstr>
      <vt:lpstr>Достигнутые результаты (было и стало) 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Дасюша</cp:lastModifiedBy>
  <cp:revision>144</cp:revision>
  <cp:lastPrinted>2019-03-06T11:32:59Z</cp:lastPrinted>
  <dcterms:created xsi:type="dcterms:W3CDTF">2018-08-20T14:01:12Z</dcterms:created>
  <dcterms:modified xsi:type="dcterms:W3CDTF">2019-11-11T12:12:13Z</dcterms:modified>
</cp:coreProperties>
</file>